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62" r:id="rId4"/>
  </p:sldMasterIdLst>
  <p:notesMasterIdLst>
    <p:notesMasterId r:id="rId19"/>
  </p:notesMasterIdLst>
  <p:handoutMasterIdLst>
    <p:handoutMasterId r:id="rId20"/>
  </p:handoutMasterIdLst>
  <p:sldIdLst>
    <p:sldId id="270" r:id="rId5"/>
    <p:sldId id="296" r:id="rId6"/>
    <p:sldId id="284" r:id="rId7"/>
    <p:sldId id="285" r:id="rId8"/>
    <p:sldId id="286" r:id="rId9"/>
    <p:sldId id="287" r:id="rId10"/>
    <p:sldId id="288" r:id="rId11"/>
    <p:sldId id="289" r:id="rId12"/>
    <p:sldId id="290" r:id="rId13"/>
    <p:sldId id="291" r:id="rId14"/>
    <p:sldId id="295" r:id="rId15"/>
    <p:sldId id="292" r:id="rId16"/>
    <p:sldId id="293" r:id="rId17"/>
    <p:sldId id="294" r:id="rId18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0033CC"/>
    <a:srgbClr val="CC0000"/>
    <a:srgbClr val="4747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E9192B-C803-4BC6-94B6-DF13B601FBBD}" v="652" dt="2025-04-10T10:02:26.3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62" autoAdjust="0"/>
    <p:restoredTop sz="94660"/>
  </p:normalViewPr>
  <p:slideViewPr>
    <p:cSldViewPr>
      <p:cViewPr varScale="1">
        <p:scale>
          <a:sx n="102" d="100"/>
          <a:sy n="102" d="100"/>
        </p:scale>
        <p:origin x="834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30" y="-96"/>
      </p:cViewPr>
      <p:guideLst>
        <p:guide orient="horz" pos="3127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14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9911" y="1"/>
            <a:ext cx="2946144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75AB60-F831-46C9-B390-EDE697C862C6}" type="datetimeFigureOut">
              <a:rPr lang="en-US" smtClean="0"/>
              <a:pPr/>
              <a:t>5/14/2025</a:t>
            </a:fld>
            <a:endParaRPr lang="en-U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1" y="9428163"/>
            <a:ext cx="294614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9911" y="9428163"/>
            <a:ext cx="2946144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15AAA7-CF41-4AF8-9E92-C2FD89DE62B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614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531" y="1"/>
            <a:ext cx="294614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4538"/>
            <a:ext cx="6615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005" y="4714876"/>
            <a:ext cx="4983666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0"/>
            <a:ext cx="294614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531" y="9429750"/>
            <a:ext cx="294614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F3DC643-BC38-4E02-ABCA-6F5774BF3A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 pitchFamily="3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 pitchFamily="34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 pitchFamily="34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 pitchFamily="34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 pitchFamily="34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FAF9D44-61CF-4148-A0A7-2AF3F6A21BD9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11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ln/>
        </p:spPr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6B4B2F6-859A-F640-9832-68FCD1EC42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/>
          <a:stretch/>
        </p:blipFill>
        <p:spPr>
          <a:xfrm rot="10800000">
            <a:off x="266699" y="257468"/>
            <a:ext cx="11658600" cy="61859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D054F95-3A49-C24C-9B87-ADC63C8DE7D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717" y="550984"/>
            <a:ext cx="1841597" cy="644558"/>
          </a:xfrm>
          <a:prstGeom prst="rect">
            <a:avLst/>
          </a:prstGeom>
        </p:spPr>
      </p:pic>
      <p:sp>
        <p:nvSpPr>
          <p:cNvPr id="11" name="Seating">
            <a:extLst>
              <a:ext uri="{FF2B5EF4-FFF2-40B4-BE49-F238E27FC236}">
                <a16:creationId xmlns:a16="http://schemas.microsoft.com/office/drawing/2014/main" id="{47690E47-8C6F-C04A-BEF1-57536C477A35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670214" y="2938881"/>
            <a:ext cx="9351819" cy="1015663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6000" b="0" spc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2FF5810-0763-BB43-8C6B-C37A14FEF517}"/>
              </a:ext>
            </a:extLst>
          </p:cNvPr>
          <p:cNvCxnSpPr/>
          <p:nvPr/>
        </p:nvCxnSpPr>
        <p:spPr>
          <a:xfrm flipH="1">
            <a:off x="670214" y="5986387"/>
            <a:ext cx="10872787" cy="0"/>
          </a:xfrm>
          <a:prstGeom prst="line">
            <a:avLst/>
          </a:prstGeom>
          <a:noFill/>
          <a:ln w="12700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639F257-D266-A74F-B934-4370CF0B3E84}"/>
              </a:ext>
            </a:extLst>
          </p:cNvPr>
          <p:cNvCxnSpPr/>
          <p:nvPr/>
        </p:nvCxnSpPr>
        <p:spPr>
          <a:xfrm flipH="1">
            <a:off x="670214" y="5443461"/>
            <a:ext cx="10872787" cy="0"/>
          </a:xfrm>
          <a:prstGeom prst="line">
            <a:avLst/>
          </a:prstGeom>
          <a:noFill/>
          <a:ln w="12700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Seating">
            <a:extLst>
              <a:ext uri="{FF2B5EF4-FFF2-40B4-BE49-F238E27FC236}">
                <a16:creationId xmlns:a16="http://schemas.microsoft.com/office/drawing/2014/main" id="{951A9BD4-04EE-F947-A3B5-0784D47D6744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670214" y="4125553"/>
            <a:ext cx="9351819" cy="58477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3200" b="0" spc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Subtitle</a:t>
            </a:r>
            <a:endParaRPr/>
          </a:p>
        </p:txBody>
      </p:sp>
      <p:sp>
        <p:nvSpPr>
          <p:cNvPr id="19" name="Section 01">
            <a:extLst>
              <a:ext uri="{FF2B5EF4-FFF2-40B4-BE49-F238E27FC236}">
                <a16:creationId xmlns:a16="http://schemas.microsoft.com/office/drawing/2014/main" id="{234FF5AD-38BF-5748-9B84-6729C86320EE}"/>
              </a:ext>
            </a:extLst>
          </p:cNvPr>
          <p:cNvSpPr txBox="1">
            <a:spLocks noGrp="1"/>
          </p:cNvSpPr>
          <p:nvPr>
            <p:ph type="body" sz="quarter" idx="17" hasCustomPrompt="1"/>
          </p:nvPr>
        </p:nvSpPr>
        <p:spPr>
          <a:xfrm>
            <a:off x="670215" y="5554771"/>
            <a:ext cx="3493608" cy="32316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500" b="0" spc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Additional Information Here</a:t>
            </a:r>
            <a:endParaRPr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47BF95-4225-2743-A2D7-1126813EF2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7909" y="5564192"/>
            <a:ext cx="3454400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001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fish&#10;&#10;Description automatically generated">
            <a:extLst>
              <a:ext uri="{FF2B5EF4-FFF2-40B4-BE49-F238E27FC236}">
                <a16:creationId xmlns:a16="http://schemas.microsoft.com/office/drawing/2014/main" id="{5065ECEA-D676-684A-9A84-61F0D1ADB2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07"/>
          <a:stretch/>
        </p:blipFill>
        <p:spPr>
          <a:xfrm>
            <a:off x="266699" y="248450"/>
            <a:ext cx="4986637" cy="6194933"/>
          </a:xfrm>
          <a:prstGeom prst="rect">
            <a:avLst/>
          </a:prstGeom>
        </p:spPr>
      </p:pic>
      <p:sp>
        <p:nvSpPr>
          <p:cNvPr id="94" name="Rectangle"/>
          <p:cNvSpPr/>
          <p:nvPr/>
        </p:nvSpPr>
        <p:spPr>
          <a:xfrm>
            <a:off x="5253337" y="1"/>
            <a:ext cx="6938663" cy="685800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eating">
            <a:extLst>
              <a:ext uri="{FF2B5EF4-FFF2-40B4-BE49-F238E27FC236}">
                <a16:creationId xmlns:a16="http://schemas.microsoft.com/office/drawing/2014/main" id="{377B8F32-DDC9-D54F-93BB-3E5EACA20D75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6003232" y="2318989"/>
            <a:ext cx="5177387" cy="201593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6000" b="0" spc="-15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Section</a:t>
            </a:r>
          </a:p>
          <a:p>
            <a:r>
              <a:rPr lang="en-US"/>
              <a:t>Name</a:t>
            </a:r>
            <a:endParaRPr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5A298B9-0EFB-BB4B-AB67-DEB3CC95E8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69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4DA87EAD-72A7-C840-B1D1-F49F1842BEE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062" y="257463"/>
            <a:ext cx="9294352" cy="6196235"/>
          </a:xfrm>
          <a:prstGeom prst="rect">
            <a:avLst/>
          </a:prstGeom>
        </p:spPr>
      </p:pic>
      <p:sp>
        <p:nvSpPr>
          <p:cNvPr id="94" name="Rectangle"/>
          <p:cNvSpPr/>
          <p:nvPr/>
        </p:nvSpPr>
        <p:spPr>
          <a:xfrm>
            <a:off x="5253337" y="1"/>
            <a:ext cx="6938663" cy="685800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eating">
            <a:extLst>
              <a:ext uri="{FF2B5EF4-FFF2-40B4-BE49-F238E27FC236}">
                <a16:creationId xmlns:a16="http://schemas.microsoft.com/office/drawing/2014/main" id="{377B8F32-DDC9-D54F-93BB-3E5EACA20D75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6003232" y="2318989"/>
            <a:ext cx="5177387" cy="201593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6000" b="0" spc="-15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Section</a:t>
            </a:r>
          </a:p>
          <a:p>
            <a:r>
              <a:rPr lang="en-US"/>
              <a:t>Name</a:t>
            </a:r>
            <a:endParaRPr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07980C-C169-1149-BE8A-C6A91BE7A13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275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walking outside a building&#10;&#10;Description automatically generated with medium confidence">
            <a:extLst>
              <a:ext uri="{FF2B5EF4-FFF2-40B4-BE49-F238E27FC236}">
                <a16:creationId xmlns:a16="http://schemas.microsoft.com/office/drawing/2014/main" id="{234522E1-0BF8-F64A-99C9-B063744297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698" y="248450"/>
            <a:ext cx="4986638" cy="6194933"/>
          </a:xfrm>
          <a:prstGeom prst="rect">
            <a:avLst/>
          </a:prstGeom>
        </p:spPr>
      </p:pic>
      <p:sp>
        <p:nvSpPr>
          <p:cNvPr id="94" name="Rectangle"/>
          <p:cNvSpPr/>
          <p:nvPr/>
        </p:nvSpPr>
        <p:spPr>
          <a:xfrm>
            <a:off x="5253337" y="1"/>
            <a:ext cx="6938663" cy="685800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eating">
            <a:extLst>
              <a:ext uri="{FF2B5EF4-FFF2-40B4-BE49-F238E27FC236}">
                <a16:creationId xmlns:a16="http://schemas.microsoft.com/office/drawing/2014/main" id="{377B8F32-DDC9-D54F-93BB-3E5EACA20D75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6003232" y="2318989"/>
            <a:ext cx="5177387" cy="201593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6000" b="0" spc="-15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Section</a:t>
            </a:r>
          </a:p>
          <a:p>
            <a:r>
              <a:rPr lang="en-US"/>
              <a:t>Name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00C5B7-C00E-B24A-9C97-C68F843FC0A7}"/>
              </a:ext>
            </a:extLst>
          </p:cNvPr>
          <p:cNvSpPr txBox="1"/>
          <p:nvPr/>
        </p:nvSpPr>
        <p:spPr>
          <a:xfrm>
            <a:off x="3691890" y="-502920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124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4C7D655-90D3-EC46-B622-77A9F20D40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377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and Values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7F12744E-2751-8A46-8752-8C56BF97DD7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082" y="257463"/>
            <a:ext cx="9294352" cy="6196235"/>
          </a:xfrm>
          <a:prstGeom prst="rect">
            <a:avLst/>
          </a:prstGeom>
        </p:spPr>
      </p:pic>
      <p:sp>
        <p:nvSpPr>
          <p:cNvPr id="94" name="Rectangle"/>
          <p:cNvSpPr/>
          <p:nvPr/>
        </p:nvSpPr>
        <p:spPr>
          <a:xfrm>
            <a:off x="5253337" y="1"/>
            <a:ext cx="6938663" cy="6858000"/>
          </a:xfrm>
          <a:prstGeom prst="rect">
            <a:avLst/>
          </a:prstGeom>
          <a:solidFill>
            <a:srgbClr val="EE3124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ED66D27-7D86-0348-BB2C-0AEAAA779C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5846" y="1143000"/>
            <a:ext cx="5549900" cy="4686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2AA2E2C-52C1-004E-88BF-AE134ED2F0F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6917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and Values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light, blur&#10;&#10;Description automatically generated">
            <a:extLst>
              <a:ext uri="{FF2B5EF4-FFF2-40B4-BE49-F238E27FC236}">
                <a16:creationId xmlns:a16="http://schemas.microsoft.com/office/drawing/2014/main" id="{ED7BC364-B93B-5F46-B421-1DA2DE6FC97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081" y="257462"/>
            <a:ext cx="9303491" cy="6196235"/>
          </a:xfrm>
          <a:prstGeom prst="rect">
            <a:avLst/>
          </a:prstGeom>
        </p:spPr>
      </p:pic>
      <p:sp>
        <p:nvSpPr>
          <p:cNvPr id="94" name="Rectangle"/>
          <p:cNvSpPr/>
          <p:nvPr/>
        </p:nvSpPr>
        <p:spPr>
          <a:xfrm>
            <a:off x="5253337" y="1"/>
            <a:ext cx="6938663" cy="6858000"/>
          </a:xfrm>
          <a:prstGeom prst="rect">
            <a:avLst/>
          </a:prstGeom>
          <a:solidFill>
            <a:srgbClr val="EE3124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ED66D27-7D86-0348-BB2C-0AEAAA779C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5846" y="1143000"/>
            <a:ext cx="5549900" cy="4686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DB1762-1E87-2D48-AF3D-709F4482795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1499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Quote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"/>
          <p:cNvSpPr/>
          <p:nvPr/>
        </p:nvSpPr>
        <p:spPr>
          <a:xfrm>
            <a:off x="270934" y="232523"/>
            <a:ext cx="11650133" cy="618886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Seating"/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1475509" y="3094531"/>
            <a:ext cx="9351819" cy="81054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4667" b="0" spc="-150" baseline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Big Quote / Statement</a:t>
            </a:r>
            <a:endParaRPr/>
          </a:p>
        </p:txBody>
      </p:sp>
      <p:sp>
        <p:nvSpPr>
          <p:cNvPr id="8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4C3645C7-D26F-5D4F-88F0-00FF833CB921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10" name="Picture 9" descr="Shape&#10;&#10;Description automatically generated with low confidence">
            <a:extLst>
              <a:ext uri="{FF2B5EF4-FFF2-40B4-BE49-F238E27FC236}">
                <a16:creationId xmlns:a16="http://schemas.microsoft.com/office/drawing/2014/main" id="{913ADA62-FED4-2743-BB97-126D07CE467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3D9EC2F-2D61-1B49-99C2-12B53A9DF17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965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Quote-White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"/>
          <p:cNvSpPr/>
          <p:nvPr/>
        </p:nvSpPr>
        <p:spPr>
          <a:xfrm>
            <a:off x="270934" y="232523"/>
            <a:ext cx="11650133" cy="6188869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Seating"/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1475509" y="3094531"/>
            <a:ext cx="9351819" cy="81054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4667" b="0" spc="-15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Big Quote / Statement</a:t>
            </a:r>
            <a:endParaRPr/>
          </a:p>
        </p:txBody>
      </p:sp>
      <p:sp>
        <p:nvSpPr>
          <p:cNvPr id="8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782B78F0-21B2-E643-959E-48825A262D78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10" name="Picture 9" descr="Shape&#10;&#10;Description automatically generated with low confidence">
            <a:extLst>
              <a:ext uri="{FF2B5EF4-FFF2-40B4-BE49-F238E27FC236}">
                <a16:creationId xmlns:a16="http://schemas.microsoft.com/office/drawing/2014/main" id="{0EEC4A22-C1C7-F94E-8F47-5F2BAE3A339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2319949-4CE7-7E4A-884B-567489E7B22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8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gineering Slide - Gene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94473" y="1611390"/>
            <a:ext cx="10515284" cy="4076223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B3864FBB-A143-E444-9BFC-CC2E33515C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157" y="532692"/>
            <a:ext cx="10515600" cy="55399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30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Sales By Region">
            <a:extLst>
              <a:ext uri="{FF2B5EF4-FFF2-40B4-BE49-F238E27FC236}">
                <a16:creationId xmlns:a16="http://schemas.microsoft.com/office/drawing/2014/main" id="{E5723A09-1E28-D44E-ACA8-7AAB4DAEC10E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594157" y="1092220"/>
            <a:ext cx="10515831" cy="27776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7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5460791-17BA-CF43-9941-A911C49153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4157" y="5708487"/>
            <a:ext cx="6219124" cy="549275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2pPr>
            <a:lvl3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3pPr>
            <a:lvl4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4pPr>
            <a:lvl5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5pPr>
          </a:lstStyle>
          <a:p>
            <a:pPr lvl="0"/>
            <a:r>
              <a:rPr lang="en-US"/>
              <a:t>Insert Footer Here</a:t>
            </a:r>
          </a:p>
        </p:txBody>
      </p:sp>
      <p:sp>
        <p:nvSpPr>
          <p:cNvPr id="14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FB9EE035-5DFF-2047-AB09-ED6E0BEA49AE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16" name="Picture 15" descr="Shape&#10;&#10;Description automatically generated with low confidence">
            <a:extLst>
              <a:ext uri="{FF2B5EF4-FFF2-40B4-BE49-F238E27FC236}">
                <a16:creationId xmlns:a16="http://schemas.microsoft.com/office/drawing/2014/main" id="{B405267E-CBFB-7E46-9127-3BE0156DFC8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0A60F55-0D95-5444-8305-2301382B9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82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gineering Slide -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C0861C6-242F-3E45-8580-8F1CE257C9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58039" y="579661"/>
            <a:ext cx="5033962" cy="54924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9A167A1-7820-7349-8F0F-4DF90E2B5C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4157" y="1611390"/>
            <a:ext cx="6219018" cy="3840824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15" name="Sales By Region">
            <a:extLst>
              <a:ext uri="{FF2B5EF4-FFF2-40B4-BE49-F238E27FC236}">
                <a16:creationId xmlns:a16="http://schemas.microsoft.com/office/drawing/2014/main" id="{6BED2453-D63F-4048-BAF7-F670D2E4BEDB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594157" y="1092220"/>
            <a:ext cx="6219018" cy="298181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7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0B272514-D28C-2D4C-B53F-532C755E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157" y="532692"/>
            <a:ext cx="621901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0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D343F8-7138-EB4E-ADB8-58DADA15FB7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4157" y="5708487"/>
            <a:ext cx="6219124" cy="549275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2pPr>
            <a:lvl3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3pPr>
            <a:lvl4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4pPr>
            <a:lvl5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5pPr>
          </a:lstStyle>
          <a:p>
            <a:pPr lvl="0"/>
            <a:r>
              <a:rPr lang="en-US"/>
              <a:t>Insert Footer Here</a:t>
            </a:r>
          </a:p>
        </p:txBody>
      </p:sp>
      <p:sp>
        <p:nvSpPr>
          <p:cNvPr id="13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A244E669-8BEB-CF44-8122-654CF5764FE8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25A189D8-4A4A-A64A-99FF-DAC748BAD95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845710B-2D57-4C47-B666-5925685990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0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gineering Slide -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F4FDBB70-4187-1D4A-9127-5A10DC90C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157" y="532692"/>
            <a:ext cx="10515600" cy="55399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30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7" name="Sales By Region">
            <a:extLst>
              <a:ext uri="{FF2B5EF4-FFF2-40B4-BE49-F238E27FC236}">
                <a16:creationId xmlns:a16="http://schemas.microsoft.com/office/drawing/2014/main" id="{D42C7900-ABE4-2C4A-803D-5A0E151AF6D4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594157" y="1092220"/>
            <a:ext cx="10515831" cy="27776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7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21" name="Sales By Region">
            <a:extLst>
              <a:ext uri="{FF2B5EF4-FFF2-40B4-BE49-F238E27FC236}">
                <a16:creationId xmlns:a16="http://schemas.microsoft.com/office/drawing/2014/main" id="{5C23EADF-D5B8-214A-BBE0-84A04A798BB4}"/>
              </a:ext>
            </a:extLst>
          </p:cNvPr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889752" y="1794930"/>
            <a:ext cx="3228975" cy="60154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F47033D-0F6D-A44A-8DEE-778CCE2BE4D8}"/>
              </a:ext>
            </a:extLst>
          </p:cNvPr>
          <p:cNvCxnSpPr/>
          <p:nvPr/>
        </p:nvCxnSpPr>
        <p:spPr>
          <a:xfrm>
            <a:off x="906686" y="2482198"/>
            <a:ext cx="3212041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Sales By Region">
            <a:extLst>
              <a:ext uri="{FF2B5EF4-FFF2-40B4-BE49-F238E27FC236}">
                <a16:creationId xmlns:a16="http://schemas.microsoft.com/office/drawing/2014/main" id="{02013C53-155B-1C4E-AA99-A2C681D7F65C}"/>
              </a:ext>
            </a:extLst>
          </p:cNvPr>
          <p:cNvSpPr txBox="1">
            <a:spLocks noGrp="1"/>
          </p:cNvSpPr>
          <p:nvPr>
            <p:ph type="body" sz="quarter" idx="17" hasCustomPrompt="1"/>
          </p:nvPr>
        </p:nvSpPr>
        <p:spPr>
          <a:xfrm>
            <a:off x="4477016" y="1794930"/>
            <a:ext cx="3228975" cy="60154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549397-8357-F345-9799-3537FC2713B0}"/>
              </a:ext>
            </a:extLst>
          </p:cNvPr>
          <p:cNvCxnSpPr>
            <a:cxnSpLocks/>
          </p:cNvCxnSpPr>
          <p:nvPr/>
        </p:nvCxnSpPr>
        <p:spPr>
          <a:xfrm>
            <a:off x="4493951" y="2482198"/>
            <a:ext cx="3212041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Sales By Region">
            <a:extLst>
              <a:ext uri="{FF2B5EF4-FFF2-40B4-BE49-F238E27FC236}">
                <a16:creationId xmlns:a16="http://schemas.microsoft.com/office/drawing/2014/main" id="{A115FDB0-6C96-1B4B-89C2-0BF88B1A5FC4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8064281" y="1794930"/>
            <a:ext cx="3228975" cy="60154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58AD60A-7324-DC4C-BF4B-D5788D9CD5CA}"/>
              </a:ext>
            </a:extLst>
          </p:cNvPr>
          <p:cNvCxnSpPr/>
          <p:nvPr/>
        </p:nvCxnSpPr>
        <p:spPr>
          <a:xfrm>
            <a:off x="8081215" y="2482198"/>
            <a:ext cx="3212041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B5099F58-F51E-7945-9620-398F97E8D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9275" y="2608756"/>
            <a:ext cx="3219451" cy="2909093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1C06567-37A1-5B4C-AE3A-7CCC726C76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81777" y="2608756"/>
            <a:ext cx="3219451" cy="2909093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63F3679-4BE2-D44C-A659-CDB4DC698A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64279" y="2608756"/>
            <a:ext cx="3219451" cy="2909093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FE108B2-F471-9D49-8E04-160EF30F36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4157" y="5708487"/>
            <a:ext cx="6219124" cy="549275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2pPr>
            <a:lvl3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3pPr>
            <a:lvl4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4pPr>
            <a:lvl5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5pPr>
          </a:lstStyle>
          <a:p>
            <a:pPr lvl="0"/>
            <a:r>
              <a:rPr lang="en-US"/>
              <a:t>Insert Footer Here</a:t>
            </a:r>
          </a:p>
        </p:txBody>
      </p:sp>
      <p:sp>
        <p:nvSpPr>
          <p:cNvPr id="20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00DC87A5-73E4-7B4B-8768-4D23D34CCCB3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24" name="Picture 23" descr="Shape&#10;&#10;Description automatically generated with low confidence">
            <a:extLst>
              <a:ext uri="{FF2B5EF4-FFF2-40B4-BE49-F238E27FC236}">
                <a16:creationId xmlns:a16="http://schemas.microsoft.com/office/drawing/2014/main" id="{43FAC31B-F112-BF45-9B6E-553ADAF09FE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3547880-43CB-284C-9392-1F8ED4EA6C8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41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998ED1E-83B6-7940-BF07-8788A6DD263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699" y="257467"/>
            <a:ext cx="11658600" cy="6185918"/>
          </a:xfrm>
          <a:prstGeom prst="rect">
            <a:avLst/>
          </a:prstGeom>
        </p:spPr>
      </p:pic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Seating">
            <a:extLst>
              <a:ext uri="{FF2B5EF4-FFF2-40B4-BE49-F238E27FC236}">
                <a16:creationId xmlns:a16="http://schemas.microsoft.com/office/drawing/2014/main" id="{070EC7AD-FC65-9049-8B3B-848EB1EB63C8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670214" y="2938881"/>
            <a:ext cx="9351819" cy="1015663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6000" b="0" spc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74E08FE-1448-A044-BA48-9F835B42B4E8}"/>
              </a:ext>
            </a:extLst>
          </p:cNvPr>
          <p:cNvCxnSpPr/>
          <p:nvPr/>
        </p:nvCxnSpPr>
        <p:spPr>
          <a:xfrm flipH="1">
            <a:off x="670214" y="5986387"/>
            <a:ext cx="10872787" cy="0"/>
          </a:xfrm>
          <a:prstGeom prst="line">
            <a:avLst/>
          </a:prstGeom>
          <a:noFill/>
          <a:ln w="127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9DB80A8-0954-6644-B607-5778236C8BF1}"/>
              </a:ext>
            </a:extLst>
          </p:cNvPr>
          <p:cNvCxnSpPr/>
          <p:nvPr/>
        </p:nvCxnSpPr>
        <p:spPr>
          <a:xfrm flipH="1">
            <a:off x="670214" y="5443461"/>
            <a:ext cx="10872787" cy="0"/>
          </a:xfrm>
          <a:prstGeom prst="line">
            <a:avLst/>
          </a:prstGeom>
          <a:noFill/>
          <a:ln w="127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Seating">
            <a:extLst>
              <a:ext uri="{FF2B5EF4-FFF2-40B4-BE49-F238E27FC236}">
                <a16:creationId xmlns:a16="http://schemas.microsoft.com/office/drawing/2014/main" id="{F8F9A599-D174-F247-B3D6-908BD8CB9A9C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670214" y="4125553"/>
            <a:ext cx="9351819" cy="58477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3200" b="0" spc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Subtitle</a:t>
            </a:r>
            <a:endParaRPr/>
          </a:p>
        </p:txBody>
      </p:sp>
      <p:sp>
        <p:nvSpPr>
          <p:cNvPr id="12" name="Section 01">
            <a:extLst>
              <a:ext uri="{FF2B5EF4-FFF2-40B4-BE49-F238E27FC236}">
                <a16:creationId xmlns:a16="http://schemas.microsoft.com/office/drawing/2014/main" id="{AA9CD650-FD0B-ED4E-87E9-83C644EDBC22}"/>
              </a:ext>
            </a:extLst>
          </p:cNvPr>
          <p:cNvSpPr txBox="1">
            <a:spLocks noGrp="1"/>
          </p:cNvSpPr>
          <p:nvPr>
            <p:ph type="body" sz="quarter" idx="17" hasCustomPrompt="1"/>
          </p:nvPr>
        </p:nvSpPr>
        <p:spPr>
          <a:xfrm>
            <a:off x="670215" y="5554771"/>
            <a:ext cx="3493608" cy="32316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5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Additional Information Here</a:t>
            </a:r>
            <a:endParaRPr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10386E3-C6D2-1047-86EB-0D17288B11F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717" y="550984"/>
            <a:ext cx="1841597" cy="6445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2B87C95-1F49-9E48-B74E-E609049141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9081" y="5449653"/>
            <a:ext cx="34544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44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6BB1ED-B68C-D818-893A-866846D292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7DF9B5-FEA7-052A-5E12-B3F55208EE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8D4657-699F-5351-BBFF-86C8969F8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8D4657-699F-5351-BBFF-86C8969F8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template">
            <a:extLst>
              <a:ext uri="{FF2B5EF4-FFF2-40B4-BE49-F238E27FC236}">
                <a16:creationId xmlns:a16="http://schemas.microsoft.com/office/drawing/2014/main" id="{BAEE0823-827C-EDD1-0C9A-6E8BDB2F8F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323850"/>
            <a:ext cx="12031133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LogoText">
            <a:extLst>
              <a:ext uri="{FF2B5EF4-FFF2-40B4-BE49-F238E27FC236}">
                <a16:creationId xmlns:a16="http://schemas.microsoft.com/office/drawing/2014/main" id="{E4645608-E71B-D110-564F-0238329AE643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472269" y="6654056"/>
            <a:ext cx="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 eaLnBrk="1" hangingPunct="1">
              <a:defRPr/>
            </a:pPr>
            <a:endParaRPr lang="en-US" sz="1000">
              <a:latin typeface="Arial" pitchFamily="-110" charset="0"/>
            </a:endParaRPr>
          </a:p>
        </p:txBody>
      </p:sp>
      <p:pic>
        <p:nvPicPr>
          <p:cNvPr id="7" name="Picture 4" descr="Lear_prop and conf_slug.ai">
            <a:extLst>
              <a:ext uri="{FF2B5EF4-FFF2-40B4-BE49-F238E27FC236}">
                <a16:creationId xmlns:a16="http://schemas.microsoft.com/office/drawing/2014/main" id="{5AE5F239-71CD-4295-37E5-ED215461436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 b="45625"/>
          <a:stretch>
            <a:fillRect/>
          </a:stretch>
        </p:blipFill>
        <p:spPr bwMode="auto">
          <a:xfrm>
            <a:off x="0" y="6062664"/>
            <a:ext cx="12192000" cy="94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29436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0BCE20E-D455-BB15-7AC2-6DF26E872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256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BCE20E-D455-BB15-7AC2-6DF26E872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752600"/>
            <a:ext cx="6400800" cy="1143000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418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Seating">
            <a:extLst>
              <a:ext uri="{FF2B5EF4-FFF2-40B4-BE49-F238E27FC236}">
                <a16:creationId xmlns:a16="http://schemas.microsoft.com/office/drawing/2014/main" id="{070EC7AD-FC65-9049-8B3B-848EB1EB63C8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670214" y="2938881"/>
            <a:ext cx="9351819" cy="1015663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6000" b="0" spc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74E08FE-1448-A044-BA48-9F835B42B4E8}"/>
              </a:ext>
            </a:extLst>
          </p:cNvPr>
          <p:cNvCxnSpPr/>
          <p:nvPr/>
        </p:nvCxnSpPr>
        <p:spPr>
          <a:xfrm flipH="1">
            <a:off x="670214" y="5986387"/>
            <a:ext cx="10872787" cy="0"/>
          </a:xfrm>
          <a:prstGeom prst="line">
            <a:avLst/>
          </a:prstGeom>
          <a:noFill/>
          <a:ln w="127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9DB80A8-0954-6644-B607-5778236C8BF1}"/>
              </a:ext>
            </a:extLst>
          </p:cNvPr>
          <p:cNvCxnSpPr/>
          <p:nvPr/>
        </p:nvCxnSpPr>
        <p:spPr>
          <a:xfrm flipH="1">
            <a:off x="670214" y="5443461"/>
            <a:ext cx="10872787" cy="0"/>
          </a:xfrm>
          <a:prstGeom prst="line">
            <a:avLst/>
          </a:prstGeom>
          <a:noFill/>
          <a:ln w="127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Seating">
            <a:extLst>
              <a:ext uri="{FF2B5EF4-FFF2-40B4-BE49-F238E27FC236}">
                <a16:creationId xmlns:a16="http://schemas.microsoft.com/office/drawing/2014/main" id="{F8F9A599-D174-F247-B3D6-908BD8CB9A9C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670214" y="4125553"/>
            <a:ext cx="9351819" cy="58477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3200" b="0" spc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Light"/>
              </a:defRPr>
            </a:lvl1pPr>
          </a:lstStyle>
          <a:p>
            <a:r>
              <a:rPr lang="en-US"/>
              <a:t>Subtitle</a:t>
            </a:r>
            <a:endParaRPr/>
          </a:p>
        </p:txBody>
      </p:sp>
      <p:sp>
        <p:nvSpPr>
          <p:cNvPr id="12" name="Section 01">
            <a:extLst>
              <a:ext uri="{FF2B5EF4-FFF2-40B4-BE49-F238E27FC236}">
                <a16:creationId xmlns:a16="http://schemas.microsoft.com/office/drawing/2014/main" id="{AA9CD650-FD0B-ED4E-87E9-83C644EDBC22}"/>
              </a:ext>
            </a:extLst>
          </p:cNvPr>
          <p:cNvSpPr txBox="1">
            <a:spLocks noGrp="1"/>
          </p:cNvSpPr>
          <p:nvPr>
            <p:ph type="body" sz="quarter" idx="17" hasCustomPrompt="1"/>
          </p:nvPr>
        </p:nvSpPr>
        <p:spPr>
          <a:xfrm>
            <a:off x="670215" y="5554771"/>
            <a:ext cx="3493608" cy="32316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5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Additional Information Here</a:t>
            </a:r>
            <a:endParaRPr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10386E3-C6D2-1047-86EB-0D17288B11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717" y="550984"/>
            <a:ext cx="1841597" cy="6445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2B87C95-1F49-9E48-B74E-E609049141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9081" y="5449653"/>
            <a:ext cx="34544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85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nal Slide Layout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1A11722B-037A-4B42-B0EB-88DAFF51971F}"/>
              </a:ext>
            </a:extLst>
          </p:cNvPr>
          <p:cNvSpPr/>
          <p:nvPr/>
        </p:nvSpPr>
        <p:spPr>
          <a:xfrm>
            <a:off x="270934" y="232523"/>
            <a:ext cx="11650133" cy="618886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Sales By Region">
            <a:extLst>
              <a:ext uri="{FF2B5EF4-FFF2-40B4-BE49-F238E27FC236}">
                <a16:creationId xmlns:a16="http://schemas.microsoft.com/office/drawing/2014/main" id="{2BABFD5E-8619-B44F-86E3-F71D68DD77DB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594157" y="1092220"/>
            <a:ext cx="10957763" cy="33733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7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CEF535BC-F726-A64A-BF48-21CAA1B796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157" y="532692"/>
            <a:ext cx="10957763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0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6707DF3-A1F8-444E-BDE6-5D38AB4006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4157" y="5708487"/>
            <a:ext cx="6219124" cy="549275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2pPr>
            <a:lvl3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3pPr>
            <a:lvl4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4pPr>
            <a:lvl5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5pPr>
          </a:lstStyle>
          <a:p>
            <a:pPr lvl="0"/>
            <a:r>
              <a:rPr lang="en-US"/>
              <a:t>Insert Foot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CCCF307-4E28-0E48-B08C-97DDDE6EA4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4157" y="1611390"/>
            <a:ext cx="10957763" cy="4026446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12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5ABF028E-2566-D84E-8D28-5F4199190221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3E7CD9E8-999F-A940-A0EF-A8758F6027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F88F71-1858-594D-A49B-156F67EA8979}"/>
              </a:ext>
            </a:extLst>
          </p:cNvPr>
          <p:cNvSpPr txBox="1"/>
          <p:nvPr/>
        </p:nvSpPr>
        <p:spPr>
          <a:xfrm>
            <a:off x="84083" y="3836276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124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D5B288-ACA1-4649-AFB7-0E7FFD6C6C5C}"/>
              </a:ext>
            </a:extLst>
          </p:cNvPr>
          <p:cNvSpPr txBox="1"/>
          <p:nvPr/>
        </p:nvSpPr>
        <p:spPr>
          <a:xfrm>
            <a:off x="105103" y="2953407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124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2E0BDF1-E78C-1646-8C30-3867AB7B3C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48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nternal Slide Layout with Chart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1A11722B-037A-4B42-B0EB-88DAFF51971F}"/>
              </a:ext>
            </a:extLst>
          </p:cNvPr>
          <p:cNvSpPr/>
          <p:nvPr/>
        </p:nvSpPr>
        <p:spPr>
          <a:xfrm>
            <a:off x="270934" y="232523"/>
            <a:ext cx="11650133" cy="618886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7"/>
          </p:nvPr>
        </p:nvSpPr>
        <p:spPr>
          <a:xfrm>
            <a:off x="5637891" y="579663"/>
            <a:ext cx="5962619" cy="54808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5" name="Sales By Region">
            <a:extLst>
              <a:ext uri="{FF2B5EF4-FFF2-40B4-BE49-F238E27FC236}">
                <a16:creationId xmlns:a16="http://schemas.microsoft.com/office/drawing/2014/main" id="{2BABFD5E-8619-B44F-86E3-F71D68DD77DB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594157" y="1092220"/>
            <a:ext cx="4706071" cy="33733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7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CEF535BC-F726-A64A-BF48-21CAA1B796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157" y="532692"/>
            <a:ext cx="4706071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0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6707DF3-A1F8-444E-BDE6-5D38AB4006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1490" y="5708487"/>
            <a:ext cx="6221791" cy="549275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2pPr>
            <a:lvl3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3pPr>
            <a:lvl4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4pPr>
            <a:lvl5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5pPr>
          </a:lstStyle>
          <a:p>
            <a:pPr lvl="0"/>
            <a:r>
              <a:rPr lang="en-US"/>
              <a:t>Insert Foot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CCCF307-4E28-0E48-B08C-97DDDE6EA4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4157" y="1611390"/>
            <a:ext cx="4706071" cy="4026446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F88F71-1858-594D-A49B-156F67EA8979}"/>
              </a:ext>
            </a:extLst>
          </p:cNvPr>
          <p:cNvSpPr txBox="1"/>
          <p:nvPr/>
        </p:nvSpPr>
        <p:spPr>
          <a:xfrm>
            <a:off x="84083" y="3836276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124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D5B288-ACA1-4649-AFB7-0E7FFD6C6C5C}"/>
              </a:ext>
            </a:extLst>
          </p:cNvPr>
          <p:cNvSpPr txBox="1"/>
          <p:nvPr/>
        </p:nvSpPr>
        <p:spPr>
          <a:xfrm>
            <a:off x="105103" y="2953407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124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3ECD7A35-A225-E543-B7E7-F98747610993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18" name="Picture 17" descr="Shape&#10;&#10;Description automatically generated with low confidence">
            <a:extLst>
              <a:ext uri="{FF2B5EF4-FFF2-40B4-BE49-F238E27FC236}">
                <a16:creationId xmlns:a16="http://schemas.microsoft.com/office/drawing/2014/main" id="{D0DE1AD8-0319-0C45-A036-AE3F33D1A33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67ED6AD-2192-434A-AC1C-79DD2C4BE21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876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nal Slide Layout with Picture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B6001EBB-7B0F-AD4D-9034-B1B6566504E3}"/>
              </a:ext>
            </a:extLst>
          </p:cNvPr>
          <p:cNvSpPr/>
          <p:nvPr/>
        </p:nvSpPr>
        <p:spPr>
          <a:xfrm>
            <a:off x="270934" y="232523"/>
            <a:ext cx="11650133" cy="618886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7158039" y="579661"/>
            <a:ext cx="5033962" cy="54924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Sales By Region">
            <a:extLst>
              <a:ext uri="{FF2B5EF4-FFF2-40B4-BE49-F238E27FC236}">
                <a16:creationId xmlns:a16="http://schemas.microsoft.com/office/drawing/2014/main" id="{137B6A69-7E42-4D4C-8333-9C9A810319C8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594157" y="1092220"/>
            <a:ext cx="6248123" cy="33733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7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89967AA3-1767-8345-B272-3F4698328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157" y="532692"/>
            <a:ext cx="6248123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0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1E2E91C-7B5B-0349-92BE-2C83BFB371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4157" y="1611390"/>
            <a:ext cx="6248123" cy="4026446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AF467DE-676B-814A-A30E-3B2F9DAF4C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4157" y="5708487"/>
            <a:ext cx="6219124" cy="549275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2pPr>
            <a:lvl3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3pPr>
            <a:lvl4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4pPr>
            <a:lvl5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5pPr>
          </a:lstStyle>
          <a:p>
            <a:pPr lvl="0"/>
            <a:r>
              <a:rPr lang="en-US"/>
              <a:t>Insert Footer Here</a:t>
            </a:r>
          </a:p>
        </p:txBody>
      </p:sp>
      <p:sp>
        <p:nvSpPr>
          <p:cNvPr id="16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00111905-298A-664C-8B7C-02A4D38477B8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19" name="Picture 18" descr="Shape&#10;&#10;Description automatically generated with low confidence">
            <a:extLst>
              <a:ext uri="{FF2B5EF4-FFF2-40B4-BE49-F238E27FC236}">
                <a16:creationId xmlns:a16="http://schemas.microsoft.com/office/drawing/2014/main" id="{195A0A2C-DD1F-9A45-93A1-DD2816A0028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DF2BA34-F7E9-4244-A4B2-0024DBBE04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170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nal Slide Layout with Picture 2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0E1812EF-EE45-694C-B0A9-0EA946DF9452}"/>
              </a:ext>
            </a:extLst>
          </p:cNvPr>
          <p:cNvSpPr/>
          <p:nvPr/>
        </p:nvSpPr>
        <p:spPr>
          <a:xfrm>
            <a:off x="270934" y="232523"/>
            <a:ext cx="11650133" cy="618886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579661"/>
            <a:ext cx="5114925" cy="54924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Sales By Region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5484126" y="1156614"/>
            <a:ext cx="6067740" cy="27776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7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484443" y="1688663"/>
            <a:ext cx="6067424" cy="4383478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33" name="Title 2"/>
          <p:cNvSpPr>
            <a:spLocks noGrp="1"/>
          </p:cNvSpPr>
          <p:nvPr>
            <p:ph type="title" hasCustomPrompt="1"/>
          </p:nvPr>
        </p:nvSpPr>
        <p:spPr>
          <a:xfrm>
            <a:off x="5484126" y="558445"/>
            <a:ext cx="606774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0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8F4C11B1-922A-FB4F-A4B2-F032DD472D53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14" name="Picture 13" descr="Shape&#10;&#10;Description automatically generated with low confidence">
            <a:extLst>
              <a:ext uri="{FF2B5EF4-FFF2-40B4-BE49-F238E27FC236}">
                <a16:creationId xmlns:a16="http://schemas.microsoft.com/office/drawing/2014/main" id="{64A59FA5-0A79-5441-BA9F-A54D0B82F7E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1B50BA3-D400-C741-828B-5C97FAFDA6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641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nal Slide Content Layout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">
            <a:extLst>
              <a:ext uri="{FF2B5EF4-FFF2-40B4-BE49-F238E27FC236}">
                <a16:creationId xmlns:a16="http://schemas.microsoft.com/office/drawing/2014/main" id="{6CCF5F31-38C7-7143-B25C-5E84D52B6F28}"/>
              </a:ext>
            </a:extLst>
          </p:cNvPr>
          <p:cNvSpPr/>
          <p:nvPr/>
        </p:nvSpPr>
        <p:spPr>
          <a:xfrm>
            <a:off x="270934" y="232523"/>
            <a:ext cx="11650133" cy="618886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Sales By Region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889752" y="1744130"/>
            <a:ext cx="3228975" cy="60154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cxnSp>
        <p:nvCxnSpPr>
          <p:cNvPr id="9" name="Straight Connector 8"/>
          <p:cNvCxnSpPr/>
          <p:nvPr/>
        </p:nvCxnSpPr>
        <p:spPr>
          <a:xfrm>
            <a:off x="906686" y="2431398"/>
            <a:ext cx="3212041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9" name="Sales By Region"/>
          <p:cNvSpPr txBox="1">
            <a:spLocks noGrp="1"/>
          </p:cNvSpPr>
          <p:nvPr>
            <p:ph type="body" sz="quarter" idx="17" hasCustomPrompt="1"/>
          </p:nvPr>
        </p:nvSpPr>
        <p:spPr>
          <a:xfrm>
            <a:off x="4477016" y="1744130"/>
            <a:ext cx="3228975" cy="60154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cxnSp>
        <p:nvCxnSpPr>
          <p:cNvPr id="40" name="Straight Connector 39"/>
          <p:cNvCxnSpPr>
            <a:cxnSpLocks/>
          </p:cNvCxnSpPr>
          <p:nvPr/>
        </p:nvCxnSpPr>
        <p:spPr>
          <a:xfrm>
            <a:off x="4493951" y="2431398"/>
            <a:ext cx="3212041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Sales By Region"/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8064281" y="1744130"/>
            <a:ext cx="3228975" cy="601545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cxnSp>
        <p:nvCxnSpPr>
          <p:cNvPr id="42" name="Straight Connector 41"/>
          <p:cNvCxnSpPr/>
          <p:nvPr/>
        </p:nvCxnSpPr>
        <p:spPr>
          <a:xfrm>
            <a:off x="8081215" y="2431398"/>
            <a:ext cx="3212041" cy="0"/>
          </a:xfrm>
          <a:prstGeom prst="line">
            <a:avLst/>
          </a:prstGeom>
          <a:noFill/>
          <a:ln w="12700" cap="flat">
            <a:solidFill>
              <a:schemeClr val="tx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99275" y="2557956"/>
            <a:ext cx="3219451" cy="2909093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481777" y="2557956"/>
            <a:ext cx="3219451" cy="2909093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064279" y="2557956"/>
            <a:ext cx="3219451" cy="2909093"/>
          </a:xfrm>
          <a:prstGeom prst="rect">
            <a:avLst/>
          </a:prstGeom>
        </p:spPr>
        <p:txBody>
          <a:bodyPr numCol="1" spcCol="457200"/>
          <a:lstStyle>
            <a:lvl1pPr marL="228557" marR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67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99967" marR="0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599880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6987" marR="0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 sz="1400" b="0" i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marL="228557" marR="0" lvl="0" indent="-228557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Click to edit text</a:t>
            </a:r>
          </a:p>
          <a:p>
            <a:pPr marL="685670" marR="0" lvl="1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Second level</a:t>
            </a:r>
          </a:p>
          <a:p>
            <a:pPr marL="1199967" marR="0" lvl="2" indent="-285750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Third level</a:t>
            </a:r>
          </a:p>
          <a:p>
            <a:pPr marL="1599880" marR="0" lvl="3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ourth level</a:t>
            </a:r>
          </a:p>
          <a:p>
            <a:pPr marL="2056987" marR="0" lvl="4" indent="-228557" algn="l" defTabSz="914218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E30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Light" panose="020B0404020202020204" pitchFamily="34" charset="0"/>
                <a:ea typeface="Aktiv Grotesk Light" panose="020B0404020202020204" pitchFamily="34" charset="0"/>
                <a:cs typeface="Aktiv Grotesk Light" panose="020B0404020202020204" pitchFamily="34" charset="0"/>
              </a:rPr>
              <a:t>Fifth level</a:t>
            </a: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16BE9BAB-0521-8A4E-9DFC-E35943D3E2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157" y="532692"/>
            <a:ext cx="10515600" cy="55399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30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4" name="Sales By Region">
            <a:extLst>
              <a:ext uri="{FF2B5EF4-FFF2-40B4-BE49-F238E27FC236}">
                <a16:creationId xmlns:a16="http://schemas.microsoft.com/office/drawing/2014/main" id="{DA166788-3BFE-3845-B4ED-DD08DA8CB2A5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594157" y="1092220"/>
            <a:ext cx="10515831" cy="27776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7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9A10949-3BAC-FF4A-9904-9070AC9FA3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7119" y="5708487"/>
            <a:ext cx="6126162" cy="549275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2pPr>
            <a:lvl3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3pPr>
            <a:lvl4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4pPr>
            <a:lvl5pPr>
              <a:defRPr sz="2000" b="0" i="0">
                <a:solidFill>
                  <a:schemeClr val="accent2"/>
                </a:solidFill>
                <a:latin typeface="Aktiv Grotesk Ex Light" panose="020B0404020203020204" pitchFamily="34" charset="77"/>
                <a:cs typeface="Aktiv Grotesk Ex Light" panose="020B0404020203020204" pitchFamily="34" charset="77"/>
              </a:defRPr>
            </a:lvl5pPr>
          </a:lstStyle>
          <a:p>
            <a:pPr lvl="0"/>
            <a:r>
              <a:rPr lang="en-US"/>
              <a:t>Insert Footer Here</a:t>
            </a:r>
          </a:p>
        </p:txBody>
      </p:sp>
      <p:sp>
        <p:nvSpPr>
          <p:cNvPr id="23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9A95CCB0-380D-9D40-8B02-61D723A377BB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27" name="Picture 26" descr="Shape&#10;&#10;Description automatically generated with low confidence">
            <a:extLst>
              <a:ext uri="{FF2B5EF4-FFF2-40B4-BE49-F238E27FC236}">
                <a16:creationId xmlns:a16="http://schemas.microsoft.com/office/drawing/2014/main" id="{DFC66191-2485-AA47-AFA2-965CD23F0E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F3F25B2-7E85-384B-8CA7-9ADB784292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730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nal Slide Content Layout 2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">
            <a:extLst>
              <a:ext uri="{FF2B5EF4-FFF2-40B4-BE49-F238E27FC236}">
                <a16:creationId xmlns:a16="http://schemas.microsoft.com/office/drawing/2014/main" id="{8DD3E12E-B98C-0742-AAFB-BA2543CB6754}"/>
              </a:ext>
            </a:extLst>
          </p:cNvPr>
          <p:cNvSpPr/>
          <p:nvPr/>
        </p:nvSpPr>
        <p:spPr>
          <a:xfrm>
            <a:off x="270934" y="232523"/>
            <a:ext cx="11650133" cy="618886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46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996064" y="1934070"/>
            <a:ext cx="3212307" cy="344172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494314" y="1934070"/>
            <a:ext cx="3212307" cy="344172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7992564" y="1934070"/>
            <a:ext cx="3212307" cy="344172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63709" y="6471320"/>
            <a:ext cx="322204" cy="25648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defPPr marL="0" marR="0" indent="0" algn="l" defTabSz="45717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9209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  <a:lvl2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0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Sales By Region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981078" y="5569772"/>
            <a:ext cx="3228975" cy="60154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39" name="Sales By Region"/>
          <p:cNvSpPr txBox="1">
            <a:spLocks noGrp="1"/>
          </p:cNvSpPr>
          <p:nvPr>
            <p:ph type="body" sz="quarter" idx="17" hasCustomPrompt="1"/>
          </p:nvPr>
        </p:nvSpPr>
        <p:spPr>
          <a:xfrm>
            <a:off x="4480519" y="5569772"/>
            <a:ext cx="3228975" cy="60154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41" name="Sales By Region"/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7979959" y="5569772"/>
            <a:ext cx="3228975" cy="60154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F5AD843D-FE61-4143-A107-4C604406D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157" y="532692"/>
            <a:ext cx="10515600" cy="55399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3000" b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Sales By Region">
            <a:extLst>
              <a:ext uri="{FF2B5EF4-FFF2-40B4-BE49-F238E27FC236}">
                <a16:creationId xmlns:a16="http://schemas.microsoft.com/office/drawing/2014/main" id="{E5D65709-82E5-174F-83AF-15483265487C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594157" y="1092220"/>
            <a:ext cx="10515831" cy="27776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defTabSz="228597">
              <a:lnSpc>
                <a:spcPct val="100000"/>
              </a:lnSpc>
              <a:spcBef>
                <a:spcPts val="600"/>
              </a:spcBef>
              <a:buNone/>
              <a:defRPr sz="17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Ex Bold"/>
              </a:defRPr>
            </a:lvl1pPr>
          </a:lstStyle>
          <a:p>
            <a:r>
              <a:rPr lang="en-US"/>
              <a:t>Subhead</a:t>
            </a:r>
            <a:endParaRPr/>
          </a:p>
        </p:txBody>
      </p:sp>
      <p:sp>
        <p:nvSpPr>
          <p:cNvPr id="19" name="Lear Proprietary and Confidential: The information contained herein is the exclusive property of Lear Corporation. This date shall not be disseminated or republished without the prior written consent of Lear Corporation.">
            <a:extLst>
              <a:ext uri="{FF2B5EF4-FFF2-40B4-BE49-F238E27FC236}">
                <a16:creationId xmlns:a16="http://schemas.microsoft.com/office/drawing/2014/main" id="{C4019B57-F097-994E-905A-E67CE029A526}"/>
              </a:ext>
            </a:extLst>
          </p:cNvPr>
          <p:cNvSpPr txBox="1"/>
          <p:nvPr/>
        </p:nvSpPr>
        <p:spPr>
          <a:xfrm>
            <a:off x="2421845" y="6492043"/>
            <a:ext cx="6649256" cy="2882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ktiv Grotesk Medium"/>
              </a:rPr>
              <a:t>Lear Proprietary and Confidential:</a:t>
            </a:r>
            <a:r>
              <a:rPr sz="77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herein is the exclusive property of Lear Corporation. 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defTabSz="228597">
              <a:lnSpc>
                <a:spcPct val="100000"/>
              </a:lnSpc>
              <a:spcBef>
                <a:spcPts val="0"/>
              </a:spcBef>
              <a:defRPr sz="1400">
                <a:solidFill>
                  <a:srgbClr val="807E78"/>
                </a:solidFill>
                <a:latin typeface="Aktiv Grotesk Light"/>
                <a:ea typeface="Aktiv Grotesk Light"/>
                <a:cs typeface="Aktiv Grotesk Light"/>
                <a:sym typeface="Aktiv Grotesk Light"/>
              </a:defRPr>
            </a:pP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dat</a:t>
            </a:r>
            <a:r>
              <a:rPr lang="en-US"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sz="77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hall not be disseminated or republished without the prior written consent of Lear Corporation. </a:t>
            </a:r>
          </a:p>
        </p:txBody>
      </p:sp>
      <p:pic>
        <p:nvPicPr>
          <p:cNvPr id="23" name="Picture 22" descr="Shape&#10;&#10;Description automatically generated with low confidence">
            <a:extLst>
              <a:ext uri="{FF2B5EF4-FFF2-40B4-BE49-F238E27FC236}">
                <a16:creationId xmlns:a16="http://schemas.microsoft.com/office/drawing/2014/main" id="{B544D8B6-0C60-7942-958A-6FB543A28D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347" y="6539612"/>
            <a:ext cx="238273" cy="2143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0D8DBA8-10EF-6E43-8ACB-B7AE94A2539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58" y="6471990"/>
            <a:ext cx="906652" cy="31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093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504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pos="5120" userDrawn="1">
          <p15:clr>
            <a:srgbClr val="FBAE40"/>
          </p15:clr>
        </p15:guide>
        <p15:guide id="6" pos="6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4FC4BA3-BFD3-0A45-AA4C-129912035F0E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05611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25" imgH="426" progId="TCLayout.ActiveDocument.1">
                  <p:embed/>
                </p:oleObj>
              </mc:Choice>
              <mc:Fallback>
                <p:oleObj name="think-cell Slide" r:id="rId24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FC4BA3-BFD3-0A45-AA4C-129912035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1051" y="120361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F7E835-EF62-2545-ACA4-5BF1ED07A6DE}"/>
              </a:ext>
            </a:extLst>
          </p:cNvPr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6166" y="2536968"/>
            <a:ext cx="3599665" cy="114210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F16E61E-A46D-AF47-BB67-BAD942C4B7DD}"/>
              </a:ext>
            </a:extLst>
          </p:cNvPr>
          <p:cNvSpPr txBox="1"/>
          <p:nvPr/>
        </p:nvSpPr>
        <p:spPr>
          <a:xfrm>
            <a:off x="2796217" y="3462598"/>
            <a:ext cx="6165149" cy="9566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kumimoji="0" lang="en-US" sz="2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Neue"/>
              </a:rPr>
              <a:t>PPT Corporate Template – Do not use this slide</a:t>
            </a:r>
          </a:p>
        </p:txBody>
      </p:sp>
    </p:spTree>
    <p:extLst>
      <p:ext uri="{BB962C8B-B14F-4D97-AF65-F5344CB8AC3E}">
        <p14:creationId xmlns:p14="http://schemas.microsoft.com/office/powerpoint/2010/main" val="9004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</p:sldLayoutIdLst>
  <p:hf hdr="0" ftr="0" dt="0"/>
  <p:txStyles>
    <p:titleStyle>
      <a:lvl1pPr algn="l" defTabSz="914218" rtl="0" eaLnBrk="1" latinLnBrk="0" hangingPunct="1">
        <a:lnSpc>
          <a:spcPct val="90000"/>
        </a:lnSpc>
        <a:spcBef>
          <a:spcPct val="0"/>
        </a:spcBef>
        <a:buClr>
          <a:schemeClr val="accent1"/>
        </a:buClr>
        <a:buNone/>
        <a:defRPr lang="en-US" sz="3000" b="1" kern="1200" dirty="0">
          <a:solidFill>
            <a:schemeClr val="accent1"/>
          </a:solidFill>
          <a:latin typeface="Arial" panose="020B0604020202020204" pitchFamily="34" charset="0"/>
          <a:ea typeface="ＭＳ Ｐゴシック" pitchFamily="34" charset="-128"/>
          <a:cs typeface="Arial" panose="020B0604020202020204" pitchFamily="34" charset="0"/>
        </a:defRPr>
      </a:lvl1pPr>
    </p:titleStyle>
    <p:bodyStyle>
      <a:lvl1pPr marL="228557" indent="-228557" algn="l" defTabSz="914218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400" b="0" i="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670" indent="-228557" algn="l" defTabSz="914218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99967" indent="-285750" algn="l" defTabSz="914218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599880" indent="-228557" algn="l" defTabSz="914218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6987" indent="-228557" algn="l" defTabSz="914218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098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8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7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30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7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7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7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23.pn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70F45A7-CAF6-ABC7-B5B7-F870A9E581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1467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0F45A7-CAF6-ABC7-B5B7-F870A9E58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1D746E-D5B8-878F-F5B6-42357E559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214" y="2938881"/>
            <a:ext cx="9351819" cy="1015663"/>
          </a:xfrm>
        </p:spPr>
        <p:txBody>
          <a:bodyPr/>
          <a:lstStyle/>
          <a:p>
            <a:r>
              <a:rPr lang="en-US" dirty="0"/>
              <a:t>Traceability</a:t>
            </a:r>
            <a:r>
              <a:rPr lang="es-ES" dirty="0"/>
              <a:t> </a:t>
            </a:r>
            <a:r>
              <a:rPr lang="en-US" dirty="0"/>
              <a:t>Label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AE6605-EBB4-F651-9B62-DC835ED219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0214" y="4125553"/>
            <a:ext cx="10531186" cy="584775"/>
          </a:xfrm>
        </p:spPr>
        <p:txBody>
          <a:bodyPr/>
          <a:lstStyle/>
          <a:p>
            <a:r>
              <a:rPr lang="en-US" dirty="0"/>
              <a:t>Lear </a:t>
            </a:r>
            <a:r>
              <a:rPr lang="en-US"/>
              <a:t>e-Systems</a:t>
            </a:r>
            <a:r>
              <a:rPr lang="en-US" dirty="0"/>
              <a:t> - Electronics plants requiremen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8B79A9-55F4-670B-BFD9-D3F3E92937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s-ES" dirty="0"/>
              <a:t>2025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CA5BC69-7026-5875-9489-BE47CB13E1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497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A5BC69-7026-5875-9489-BE47CB13E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83D81B-FF4B-6BC5-F3AA-19FC98E83FC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BFE8AD-5949-5024-DB25-5444731C1F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 the traceability lab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427A62-A470-42E6-98C0-D9D29E9DB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unter 20T Lot Number. Base Spec. Formats 01-0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63DF73-F0F8-1D5F-27F5-F678129FD3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800" dirty="0"/>
              <a:t>Building Instruction for Counter 20T – Lot Numb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DC69B9A-B074-8389-DF62-8B53C4E852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882" y="1981200"/>
            <a:ext cx="7193613" cy="40678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C6B62E7-B852-6ECD-E036-14A2186A6C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33219" y="2057400"/>
            <a:ext cx="3292125" cy="38865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567990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9AD56E-A0D3-35A0-D700-4BFF2CBFF0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78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9AD56E-A0D3-35A0-D700-4BFF2CBFF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10D85F-33B8-BBCF-B94E-31EBE3CE470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4C365E-A93A-F7A9-4F91-FDAC1ABDB9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rinted Circuit Board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0F9ABB-0B1A-0F1D-7F90-D5783FC0B4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Labeling Requirem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EE30E0-35F6-021E-1410-E2A74B64D9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s-ES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24221415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7E631BF-A637-D148-2700-998CA75EE8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076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E631BF-A637-D148-2700-998CA75EE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799F2A-59E3-46B4-B7F4-2A0DAB44037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A6CCF9-BBA5-B813-5A79-C7E9A97E0D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4157" y="958065"/>
            <a:ext cx="10957763" cy="337335"/>
          </a:xfrm>
        </p:spPr>
        <p:txBody>
          <a:bodyPr/>
          <a:lstStyle/>
          <a:p>
            <a:r>
              <a:rPr lang="en-US" dirty="0"/>
              <a:t>Mother Box (Carton Box) Barcode Requirement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9762C4-EA7C-7ADD-9255-B2FF206471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157" y="398537"/>
            <a:ext cx="10957763" cy="553998"/>
          </a:xfrm>
        </p:spPr>
        <p:txBody>
          <a:bodyPr vert="horz"/>
          <a:lstStyle/>
          <a:p>
            <a:r>
              <a:rPr lang="en-US" dirty="0"/>
              <a:t>Special requirements for Printed Circuit Boards - PCB’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90E3F9-325E-FF4A-81A2-5ABFC9B05A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4157" y="1611390"/>
            <a:ext cx="2834843" cy="4026446"/>
          </a:xfrm>
        </p:spPr>
        <p:txBody>
          <a:bodyPr/>
          <a:lstStyle/>
          <a:p>
            <a:endParaRPr lang="en-US" sz="1800" dirty="0"/>
          </a:p>
          <a:p>
            <a:r>
              <a:rPr lang="en-US" sz="1800" dirty="0"/>
              <a:t>Choose any of the 3 types of matrix codes 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D92A4E4C-D104-424F-DA03-7206A2FB7F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44443" y="1469499"/>
            <a:ext cx="8153400" cy="48447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7270477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CD76D23-FA41-F793-FDB8-8210B6CEBB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622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D76D23-FA41-F793-FDB8-8210B6CEBB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4899F83-510D-63CB-460F-5BEC771B003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1EC4DE-1F4A-027D-5C04-8609F0CBDA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raceability lab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C4F669-D48A-2C26-66AB-B599C2E41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ther Special requirements for PCB’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9449E1-DC3F-F72A-2CF4-28E0B1D728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Need to include Expiration Date </a:t>
            </a:r>
            <a:r>
              <a:rPr lang="en-US" b="1" dirty="0"/>
              <a:t>on Smallest Package </a:t>
            </a:r>
            <a:r>
              <a:rPr lang="en-US" dirty="0"/>
              <a:t>(i.e. Shielding Bag) </a:t>
            </a:r>
            <a:r>
              <a:rPr lang="en-US" b="1" dirty="0"/>
              <a:t>label</a:t>
            </a:r>
          </a:p>
          <a:p>
            <a:r>
              <a:rPr lang="en-US" dirty="0"/>
              <a:t>Format: 14DYYYYMMDD (Code128 Barcode)</a:t>
            </a:r>
          </a:p>
          <a:p>
            <a:r>
              <a:rPr lang="en-US" dirty="0"/>
              <a:t>Example: 14D20151231</a:t>
            </a:r>
          </a:p>
          <a:p>
            <a:endParaRPr lang="en-US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081134F1-BEB6-0F77-27BF-575D66944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00400" y="2235149"/>
            <a:ext cx="4038600" cy="611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F6299C6E-31A0-2E0A-AECA-2F10FBA811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286000" y="3200400"/>
            <a:ext cx="8610600" cy="2996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941351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F09D7D7-FFFB-0310-7EEA-6D2B5F77F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477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09D7D7-FFFB-0310-7EEA-6D2B5F77F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BFF655-E713-2C65-50D3-F9416AA38D4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3A872D-C967-23AF-D7CF-84C7E7A57D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els on the Mother Box/Carton Box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FD0DBC-47EA-762E-CE20-80BBD567C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ter Label for PCB’s</a:t>
            </a:r>
          </a:p>
        </p:txBody>
      </p:sp>
      <p:pic>
        <p:nvPicPr>
          <p:cNvPr id="17" name="Picture 2" descr="A close up of a bar code&#10;&#10;Description automatically generated">
            <a:extLst>
              <a:ext uri="{FF2B5EF4-FFF2-40B4-BE49-F238E27FC236}">
                <a16:creationId xmlns:a16="http://schemas.microsoft.com/office/drawing/2014/main" id="{A9A46F58-1D13-FC20-1779-3A08FD3E20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51294" y="1611390"/>
            <a:ext cx="5043488" cy="342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D7E8FD1-0C8E-AE39-900E-7B6920D137A9}"/>
              </a:ext>
            </a:extLst>
          </p:cNvPr>
          <p:cNvSpPr txBox="1"/>
          <p:nvPr/>
        </p:nvSpPr>
        <p:spPr>
          <a:xfrm>
            <a:off x="624637" y="5458599"/>
            <a:ext cx="10576763" cy="46166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33CC"/>
                </a:solidFill>
              </a:rPr>
              <a:t>[)&gt;@06@20PE00808703@16D20151231@7Q000125EA@20TCIL05382@20SCI6A1017@20SCI6A1018@20SCI6A1019@20SCI6A1020@20SCI6A1021@@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0C0F096-5B75-F401-6EA5-DCB146804CB2}"/>
              </a:ext>
            </a:extLst>
          </p:cNvPr>
          <p:cNvCxnSpPr>
            <a:cxnSpLocks/>
            <a:endCxn id="20" idx="0"/>
          </p:cNvCxnSpPr>
          <p:nvPr/>
        </p:nvCxnSpPr>
        <p:spPr>
          <a:xfrm>
            <a:off x="5257800" y="4648200"/>
            <a:ext cx="655219" cy="81039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89DE039-5072-CA34-0003-DCA7469B37D5}"/>
              </a:ext>
            </a:extLst>
          </p:cNvPr>
          <p:cNvSpPr txBox="1"/>
          <p:nvPr/>
        </p:nvSpPr>
        <p:spPr>
          <a:xfrm>
            <a:off x="4876800" y="2209800"/>
            <a:ext cx="1385614" cy="3571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R="0" algn="ctr" defTabSz="914218" rtl="0" eaLnBrk="1" fontAlgn="auto" latinLnBrk="0" hangingPunct="1">
              <a:lnSpc>
                <a:spcPct val="90000"/>
              </a:lnSpc>
              <a:spcAft>
                <a:spcPts val="0"/>
              </a:spcAft>
              <a:buClr>
                <a:srgbClr val="EE3124"/>
              </a:buClr>
              <a:buSzTx/>
              <a:tabLst/>
            </a:pPr>
            <a:r>
              <a:rPr lang="en-US" sz="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16D) Expiry Date</a:t>
            </a:r>
          </a:p>
          <a:p>
            <a:pPr marR="0" algn="ctr" defTabSz="914218" rtl="0" eaLnBrk="1" fontAlgn="auto" latinLnBrk="0" hangingPunct="1">
              <a:lnSpc>
                <a:spcPct val="90000"/>
              </a:lnSpc>
              <a:spcAft>
                <a:spcPts val="0"/>
              </a:spcAft>
              <a:buClr>
                <a:srgbClr val="EE3124"/>
              </a:buClr>
              <a:buSzTx/>
              <a:tabLst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0151231</a:t>
            </a:r>
          </a:p>
        </p:txBody>
      </p:sp>
    </p:spTree>
    <p:extLst>
      <p:ext uri="{BB962C8B-B14F-4D97-AF65-F5344CB8AC3E}">
        <p14:creationId xmlns:p14="http://schemas.microsoft.com/office/powerpoint/2010/main" val="2511493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AF85C59-76BC-1E0E-096A-489DAC31B7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363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F85C59-76BC-1E0E-096A-489DAC31B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10D85F-33B8-BBCF-B94E-31EBE3CE470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4C365E-A93A-F7A9-4F91-FDAC1ABDB9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urface Mount Devi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0F9ABB-0B1A-0F1D-7F90-D5783FC0B4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Labeling Requirem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EE30E0-35F6-021E-1410-E2A74B64D9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s-ES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725159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8C05DA9-628A-12C1-D8BC-C4774690DE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30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C05DA9-628A-12C1-D8BC-C4774690DE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6B422E-71BC-394C-9BF5-B909F07D870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2E8BB6-64CE-32B5-EB44-06A67A432D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orrect traceability for electronic components require unique identification per pack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D63CE4-E6A0-7D48-07E9-2D969D521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ndard Lear label for Lear </a:t>
            </a:r>
            <a:r>
              <a:rPr lang="en-US"/>
              <a:t>e-Systems</a:t>
            </a:r>
            <a:r>
              <a:rPr lang="en-US" dirty="0"/>
              <a:t> Electronics</a:t>
            </a:r>
            <a:endParaRPr lang="es-E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9A6F5F-52DB-C636-1FEE-48AD992570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sz="1800" dirty="0"/>
          </a:p>
          <a:p>
            <a:r>
              <a:rPr lang="en-US" sz="1800" dirty="0"/>
              <a:t>The goal is to receive all </a:t>
            </a:r>
            <a:r>
              <a:rPr lang="en-US" sz="1800" b="1" dirty="0"/>
              <a:t>inner-packages (reels or trays) </a:t>
            </a:r>
            <a:r>
              <a:rPr lang="en-US" sz="1800" dirty="0"/>
              <a:t>for electronic components according to the Lear specification allowing labels to be read</a:t>
            </a:r>
          </a:p>
          <a:p>
            <a:endParaRPr lang="en-US" sz="1800" dirty="0"/>
          </a:p>
          <a:p>
            <a:r>
              <a:rPr lang="en-US" sz="1800" dirty="0"/>
              <a:t>The content, organization of the fields and formats used on the label are normalized for all </a:t>
            </a:r>
            <a:r>
              <a:rPr lang="en-US" sz="1800"/>
              <a:t>Lear electronic plants</a:t>
            </a:r>
            <a:r>
              <a:rPr lang="en-US" sz="1800" dirty="0"/>
              <a:t>, using market standards</a:t>
            </a:r>
          </a:p>
          <a:p>
            <a:endParaRPr lang="en-US" sz="1800" dirty="0"/>
          </a:p>
          <a:p>
            <a:r>
              <a:rPr lang="en-US" sz="1800" dirty="0"/>
              <a:t>With the objective to meet Traceability requirements on Auto industry</a:t>
            </a:r>
          </a:p>
        </p:txBody>
      </p:sp>
    </p:spTree>
    <p:extLst>
      <p:ext uri="{BB962C8B-B14F-4D97-AF65-F5344CB8AC3E}">
        <p14:creationId xmlns:p14="http://schemas.microsoft.com/office/powerpoint/2010/main" val="3443334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622206-C553-1DDB-D18D-7C3A50228F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75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622206-C553-1DDB-D18D-7C3A50228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8B6FD2-F5BA-18D5-A5D8-64A88343B29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D11A82-81A5-3768-3FC6-D8354C3D71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Barcodes in the traceability lab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915D64-99CA-1C56-871A-83F6642C6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Sequence followed in the Standard Electronics Lear Label</a:t>
            </a:r>
            <a:endParaRPr lang="es-E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87B2092-DBED-E717-6132-ED0AC61F3EE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b="1" dirty="0"/>
              <a:t>20P</a:t>
            </a:r>
            <a:r>
              <a:rPr lang="en-US" dirty="0"/>
              <a:t>		Lear Part Number</a:t>
            </a:r>
          </a:p>
          <a:p>
            <a:pPr>
              <a:lnSpc>
                <a:spcPct val="100000"/>
              </a:lnSpc>
            </a:pPr>
            <a:r>
              <a:rPr lang="en-US" b="1" dirty="0"/>
              <a:t>Q</a:t>
            </a:r>
            <a:r>
              <a:rPr lang="en-US" dirty="0"/>
              <a:t>		Quantity</a:t>
            </a:r>
          </a:p>
          <a:p>
            <a:pPr>
              <a:lnSpc>
                <a:spcPct val="100000"/>
              </a:lnSpc>
            </a:pPr>
            <a:r>
              <a:rPr lang="en-US" b="1" dirty="0"/>
              <a:t>20T</a:t>
            </a:r>
            <a:r>
              <a:rPr lang="en-US" dirty="0"/>
              <a:t>		Lot number 8 digits -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Must be unique and follow Lear instruction</a:t>
            </a:r>
          </a:p>
          <a:p>
            <a:pPr>
              <a:lnSpc>
                <a:spcPct val="100000"/>
              </a:lnSpc>
            </a:pPr>
            <a:r>
              <a:rPr lang="en-US" b="1" dirty="0"/>
              <a:t>20S</a:t>
            </a:r>
            <a:r>
              <a:rPr lang="en-US" dirty="0"/>
              <a:t>		Serial Number 8 digits -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Must be unique and follow Lear instruction</a:t>
            </a:r>
          </a:p>
          <a:p>
            <a:pPr>
              <a:lnSpc>
                <a:spcPct val="100000"/>
              </a:lnSpc>
            </a:pPr>
            <a:r>
              <a:rPr lang="en-US" b="1" dirty="0"/>
              <a:t>21T</a:t>
            </a:r>
            <a:r>
              <a:rPr lang="en-US" dirty="0"/>
              <a:t>		Combination of 20T and 20S</a:t>
            </a:r>
          </a:p>
          <a:p>
            <a:pPr>
              <a:lnSpc>
                <a:spcPct val="100000"/>
              </a:lnSpc>
            </a:pPr>
            <a:r>
              <a:rPr lang="en-US" b="1" dirty="0"/>
              <a:t>16D</a:t>
            </a:r>
            <a:r>
              <a:rPr lang="en-US" dirty="0"/>
              <a:t>		Date code</a:t>
            </a:r>
          </a:p>
          <a:p>
            <a:pPr lvl="5">
              <a:lnSpc>
                <a:spcPct val="100000"/>
              </a:lnSpc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Production date from supplier</a:t>
            </a:r>
          </a:p>
          <a:p>
            <a:pPr lvl="5">
              <a:lnSpc>
                <a:spcPct val="100000"/>
              </a:lnSpc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To be used for component shelf-life control</a:t>
            </a:r>
          </a:p>
          <a:p>
            <a:pPr>
              <a:lnSpc>
                <a:spcPct val="100000"/>
              </a:lnSpc>
            </a:pPr>
            <a:r>
              <a:rPr lang="en-US" b="1" dirty="0"/>
              <a:t>2D Matrix   	</a:t>
            </a:r>
            <a:r>
              <a:rPr lang="en-US" dirty="0"/>
              <a:t>Matrix</a:t>
            </a:r>
            <a:r>
              <a:rPr lang="en-US" b="1" dirty="0"/>
              <a:t> </a:t>
            </a:r>
            <a:r>
              <a:rPr lang="en-US" dirty="0">
                <a:sym typeface="Wingdings" panose="05000000000000000000" pitchFamily="2" charset="2"/>
              </a:rPr>
              <a:t>20P + 21T + Q</a:t>
            </a:r>
          </a:p>
          <a:p>
            <a:pPr>
              <a:lnSpc>
                <a:spcPct val="100000"/>
              </a:lnSpc>
            </a:pPr>
            <a:r>
              <a:rPr lang="en-US" b="1" dirty="0">
                <a:sym typeface="Wingdings" panose="05000000000000000000" pitchFamily="2" charset="2"/>
              </a:rPr>
              <a:t>1P		</a:t>
            </a:r>
            <a:r>
              <a:rPr lang="en-US" dirty="0">
                <a:sym typeface="Wingdings" panose="05000000000000000000" pitchFamily="2" charset="2"/>
              </a:rPr>
              <a:t>Supplier part number</a:t>
            </a:r>
          </a:p>
          <a:p>
            <a:pPr>
              <a:lnSpc>
                <a:spcPct val="100000"/>
              </a:lnSpc>
            </a:pPr>
            <a:r>
              <a:rPr lang="en-US" b="1" dirty="0">
                <a:sym typeface="Wingdings" panose="05000000000000000000" pitchFamily="2" charset="2"/>
              </a:rPr>
              <a:t>1T		</a:t>
            </a:r>
            <a:r>
              <a:rPr lang="en-US" dirty="0">
                <a:sym typeface="Wingdings" panose="05000000000000000000" pitchFamily="2" charset="2"/>
              </a:rPr>
              <a:t>Supplier Lot number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42147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5F5297B-A7C0-7B8D-C695-785DB228C8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144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F5297B-A7C0-7B8D-C695-785DB228C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C6A0F4-672E-5FE1-6432-D482DF81BE3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BD632C-5194-14D3-D30F-020118F96D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ith all required fields</a:t>
            </a:r>
            <a:endParaRPr lang="es-E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C3FE05-ECEB-892D-3F2A-BDEA6070BA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157" y="532692"/>
            <a:ext cx="10957763" cy="584775"/>
          </a:xfrm>
        </p:spPr>
        <p:txBody>
          <a:bodyPr vert="horz"/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Sample of traceability label</a:t>
            </a:r>
            <a:endParaRPr lang="es-E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DD7C5B-CD9A-AA07-1E01-401265D5A1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981200" y="1508344"/>
            <a:ext cx="7809437" cy="474005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04795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8E45F07-AEE5-1F3B-BA04-CA00F5366D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61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45F07-AEE5-1F3B-BA04-CA00F5366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616B9A-53AF-1AAC-7F9E-C23BED8C667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544C37-CCCD-E3DC-BD6D-D854A1D86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 the traceability lab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9EC333-F123-A33B-B083-E2A9D61F2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ch fields – guidelines per field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CFCA0DF0-76E8-F563-7860-0D0EDFA36A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133600" y="1585013"/>
            <a:ext cx="7429500" cy="47402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26747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E893714-CA8E-76B2-8E35-68FF19C339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38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893714-CA8E-76B2-8E35-68FF19C33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4769E1-2C0A-55B8-CC15-AE383E45A5A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DD806-6108-725D-7BBA-F96A38BB6F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 the traceability label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6551B9-7DBF-FEC8-55CD-8ADD56258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2D Matrix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E29EDCA5-C1D7-0C16-C195-32368B78DD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744200" y="516085"/>
            <a:ext cx="619125" cy="5872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4EE4D968-5DAB-1BD0-9FED-453416C8EC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7161" y="1429555"/>
            <a:ext cx="7867650" cy="23622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BB08DF6D-9C03-A493-58F7-BA1A569A57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95889" y="3429000"/>
            <a:ext cx="3642711" cy="274274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2215748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3BBB4AD-4A82-97C5-684D-7D71A0D7B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69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BB4AD-4A82-97C5-684D-7D71A0D7B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80C26D-0F42-9EEA-D785-7BD759B6194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04C66D-D7ED-3850-FE31-3B62584CD9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 the traceability lab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13928F-FF0C-27D7-08CC-16042329A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157" y="532692"/>
            <a:ext cx="10957763" cy="553998"/>
          </a:xfrm>
        </p:spPr>
        <p:txBody>
          <a:bodyPr vert="horz"/>
          <a:lstStyle/>
          <a:p>
            <a:r>
              <a:rPr lang="en-US" dirty="0"/>
              <a:t>Counter 20S Serial Number. Base Spec. Formats 01-02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BFE6D-6097-15BF-093D-3865E81BEF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/>
              <a:t>Building Instruction for Counter 20S – Serial Number (smallest packing unit, i.e. SMD-Reel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FCE6AF7-C512-E992-B635-8AAF92EC8D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1600" y="2100242"/>
            <a:ext cx="6469941" cy="36655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2276110-4D19-D86B-6786-C7F3776FCD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29600" y="2209800"/>
            <a:ext cx="3200400" cy="32968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198812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D2A09B2-2AFD-300D-D9E9-F86BFE4D70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3612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2A09B2-2AFD-300D-D9E9-F86BFE4D70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3A80F6-2656-A055-2DA8-4AE0F91A0E0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EF1DBA-16F5-1707-851A-F1D9D61AAF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 the traceability lab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C59EA1-ED11-D3BA-2CBF-81C901AFD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unter 20S Serial Number – Formats 03-04-05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C8780D-FCFB-04A6-25CE-FB766CBAA9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0200" y="1143000"/>
            <a:ext cx="5634448" cy="524675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395ACA7-BEA5-BEA1-E4A8-A46F4A1026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9200" y="2057400"/>
            <a:ext cx="3200400" cy="32968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2830658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ppt Lear format 2">
  <a:themeElements>
    <a:clrScheme name="Custom 3">
      <a:dk1>
        <a:srgbClr val="000000"/>
      </a:dk1>
      <a:lt1>
        <a:srgbClr val="FFFFFF"/>
      </a:lt1>
      <a:dk2>
        <a:srgbClr val="DDDFE0"/>
      </a:dk2>
      <a:lt2>
        <a:srgbClr val="B0B1AD"/>
      </a:lt2>
      <a:accent1>
        <a:srgbClr val="EE3024"/>
      </a:accent1>
      <a:accent2>
        <a:srgbClr val="007DEA"/>
      </a:accent2>
      <a:accent3>
        <a:srgbClr val="1C428B"/>
      </a:accent3>
      <a:accent4>
        <a:srgbClr val="032342"/>
      </a:accent4>
      <a:accent5>
        <a:srgbClr val="EFEFED"/>
      </a:accent5>
      <a:accent6>
        <a:srgbClr val="000000"/>
      </a:accent6>
      <a:hlink>
        <a:srgbClr val="FF0000"/>
      </a:hlink>
      <a:folHlink>
        <a:srgbClr val="EE3024"/>
      </a:folHlink>
    </a:clrScheme>
    <a:fontScheme name="Custom 1">
      <a:majorFont>
        <a:latin typeface="Verdana"/>
        <a:ea typeface="Helvetica Neue"/>
        <a:cs typeface="Helvetica Neue"/>
      </a:majorFont>
      <a:minorFont>
        <a:latin typeface="Verdana"/>
        <a:ea typeface="Helvetica Neue"/>
        <a:cs typeface="Helvetica Neu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91440" tIns="45720" rIns="91440" bIns="45720" rtlCol="0">
        <a:noAutofit/>
      </a:bodyPr>
      <a:lstStyle>
        <a:defPPr marL="228557" marR="0" indent="-228557" algn="l" defTabSz="914218" rtl="0" eaLnBrk="1" fontAlgn="auto" latinLnBrk="0" hangingPunct="1">
          <a:lnSpc>
            <a:spcPct val="90000"/>
          </a:lnSpc>
          <a:spcBef>
            <a:spcPts val="1000"/>
          </a:spcBef>
          <a:spcAft>
            <a:spcPts val="0"/>
          </a:spcAft>
          <a:buClr>
            <a:srgbClr val="EE3124"/>
          </a:buClr>
          <a:buSzTx/>
          <a:buFont typeface="Arial" panose="020B0604020202020204" pitchFamily="34" charset="0"/>
          <a:buChar char="•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ppt Lear format 2" id="{EC22C840-2640-4831-B4C1-43ACFD71E832}" vid="{FA33B91B-AC53-49E5-9E98-9EDE4B586A5D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57C03F4DC1BE4591E5C8786FEC1489" ma:contentTypeVersion="0" ma:contentTypeDescription="Create a new document." ma:contentTypeScope="" ma:versionID="d5601daa7733ef8999e734a07c02ba6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D44D770-0106-468B-9814-69D1AA39BDC6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AA17705-6C98-4EBF-89F9-707BBDEEF2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3AAACC5-16D3-4CAB-A846-2120E8E1F4E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 ppt Lear format 2</Template>
  <TotalTime>993</TotalTime>
  <Words>381</Words>
  <Application>Microsoft Office PowerPoint</Application>
  <PresentationFormat>Widescreen</PresentationFormat>
  <Paragraphs>72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ktiv Grotesk Ex Light</vt:lpstr>
      <vt:lpstr>Aktiv Grotesk Light</vt:lpstr>
      <vt:lpstr>Arial</vt:lpstr>
      <vt:lpstr>Arial Unicode MS</vt:lpstr>
      <vt:lpstr>Calibri</vt:lpstr>
      <vt:lpstr>Times New Roman</vt:lpstr>
      <vt:lpstr>Verdana</vt:lpstr>
      <vt:lpstr>Wingdings</vt:lpstr>
      <vt:lpstr>Theme ppt Lear format 2</vt:lpstr>
      <vt:lpstr>think-cell Slide</vt:lpstr>
      <vt:lpstr>PowerPoint Presentation</vt:lpstr>
      <vt:lpstr>PowerPoint Presentation</vt:lpstr>
      <vt:lpstr>Standard Lear label for Lear e-Systems Electronics</vt:lpstr>
      <vt:lpstr>Sequence followed in the Standard Electronics Lear Label</vt:lpstr>
      <vt:lpstr>Sample of traceability label</vt:lpstr>
      <vt:lpstr>Tech fields – guidelines per field</vt:lpstr>
      <vt:lpstr>2D Matrix</vt:lpstr>
      <vt:lpstr>Counter 20S Serial Number. Base Spec. Formats 01-02 </vt:lpstr>
      <vt:lpstr>Counter 20S Serial Number – Formats 03-04-05</vt:lpstr>
      <vt:lpstr>Counter 20T Lot Number. Base Spec. Formats 01-02</vt:lpstr>
      <vt:lpstr>PowerPoint Presentation</vt:lpstr>
      <vt:lpstr>Special requirements for Printed Circuit Boards - PCB’s</vt:lpstr>
      <vt:lpstr>Other Special requirements for PCB’s </vt:lpstr>
      <vt:lpstr>Outer Label for PCB’s</vt:lpstr>
    </vt:vector>
  </TitlesOfParts>
  <Company>Lear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si Grossman</dc:creator>
  <cp:lastModifiedBy>Vidal, Carles</cp:lastModifiedBy>
  <cp:revision>129</cp:revision>
  <cp:lastPrinted>2018-02-20T14:45:55Z</cp:lastPrinted>
  <dcterms:created xsi:type="dcterms:W3CDTF">2008-09-05T18:24:53Z</dcterms:created>
  <dcterms:modified xsi:type="dcterms:W3CDTF">2025-05-14T14:21:22Z</dcterms:modified>
</cp:coreProperties>
</file>